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21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87186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654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EXPERT MOLDBASE EXTENSION (EMX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72255" y="1190627"/>
            <a:ext cx="10239283" cy="555498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utomate manual, time-consuming tasks to speed the creation of </a:t>
            </a:r>
            <a:r>
              <a:rPr lang="en-US" sz="2000" dirty="0" err="1"/>
              <a:t>moldbase</a:t>
            </a:r>
            <a:r>
              <a:rPr lang="en-US" sz="2000" dirty="0"/>
              <a:t> tool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72C1E33-FE60-4434-91CB-0DD06F30C491}"/>
              </a:ext>
            </a:extLst>
          </p:cNvPr>
          <p:cNvGrpSpPr/>
          <p:nvPr/>
        </p:nvGrpSpPr>
        <p:grpSpPr>
          <a:xfrm>
            <a:off x="6441608" y="1719072"/>
            <a:ext cx="5274158" cy="4566812"/>
            <a:chOff x="6856723" y="1833988"/>
            <a:chExt cx="5274158" cy="4566812"/>
          </a:xfrm>
        </p:grpSpPr>
        <p:pic>
          <p:nvPicPr>
            <p:cNvPr id="10" name="Picture 5" descr="D:\00_plm\doc\images\mold&amp;cast_600x800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55873" y="2700790"/>
              <a:ext cx="2775008" cy="3700010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13129" y="1833988"/>
              <a:ext cx="1417752" cy="2716807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5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5085"/>
            <a:stretch/>
          </p:blipFill>
          <p:spPr bwMode="auto">
            <a:xfrm>
              <a:off x="6856723" y="2612523"/>
              <a:ext cx="2118519" cy="21807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01D509B-FF64-4919-B7D6-25CC50364FAE}"/>
              </a:ext>
            </a:extLst>
          </p:cNvPr>
          <p:cNvSpPr/>
          <p:nvPr/>
        </p:nvSpPr>
        <p:spPr>
          <a:xfrm>
            <a:off x="468115" y="1851316"/>
            <a:ext cx="1510147" cy="7802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F9BFDBB-F79D-4A47-B6B4-3E6A32A4C177}"/>
              </a:ext>
            </a:extLst>
          </p:cNvPr>
          <p:cNvSpPr/>
          <p:nvPr/>
        </p:nvSpPr>
        <p:spPr>
          <a:xfrm>
            <a:off x="2118969" y="1887892"/>
            <a:ext cx="6769214" cy="780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improve quality, speed and innovation in </a:t>
            </a:r>
            <a:r>
              <a:rPr lang="en-US" sz="1400" dirty="0" err="1">
                <a:solidFill>
                  <a:schemeClr val="tx1"/>
                </a:solidFill>
              </a:rPr>
              <a:t>moldbase</a:t>
            </a:r>
            <a:endParaRPr lang="en-US" sz="1400" dirty="0">
              <a:solidFill>
                <a:schemeClr val="tx1"/>
              </a:solidFill>
            </a:endParaRPr>
          </a:p>
          <a:p>
            <a:pPr marL="173038" lvl="1" indent="-173038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anufacturers are challenged to improve quality, speed, and innovation in </a:t>
            </a:r>
            <a:r>
              <a:rPr lang="en-US" sz="1400" dirty="0" err="1">
                <a:solidFill>
                  <a:schemeClr val="tx1"/>
                </a:solidFill>
              </a:rPr>
              <a:t>moldbase</a:t>
            </a:r>
            <a:r>
              <a:rPr lang="en-US" sz="1400" dirty="0">
                <a:solidFill>
                  <a:schemeClr val="tx1"/>
                </a:solidFill>
              </a:rPr>
              <a:t> design and detail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D22D8-9022-49F0-9742-3EC4D3BED94B}"/>
              </a:ext>
            </a:extLst>
          </p:cNvPr>
          <p:cNvSpPr/>
          <p:nvPr/>
        </p:nvSpPr>
        <p:spPr>
          <a:xfrm>
            <a:off x="468115" y="2680372"/>
            <a:ext cx="1510147" cy="115451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8F5CDBD-0A9C-4AD4-A126-8BF2C9A8CC5F}"/>
              </a:ext>
            </a:extLst>
          </p:cNvPr>
          <p:cNvSpPr/>
          <p:nvPr/>
        </p:nvSpPr>
        <p:spPr>
          <a:xfrm>
            <a:off x="2118973" y="2680372"/>
            <a:ext cx="3233530" cy="1154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and manufacturing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ncrease quality of tooling and manufactured produc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247D429-1B9C-44EA-8DDA-43A556D38DDE}"/>
              </a:ext>
            </a:extLst>
          </p:cNvPr>
          <p:cNvSpPr/>
          <p:nvPr/>
        </p:nvSpPr>
        <p:spPr>
          <a:xfrm>
            <a:off x="468115" y="3883650"/>
            <a:ext cx="1510147" cy="701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53120CF-F9FE-4E8E-839C-265E003094CE}"/>
              </a:ext>
            </a:extLst>
          </p:cNvPr>
          <p:cNvSpPr/>
          <p:nvPr/>
        </p:nvSpPr>
        <p:spPr>
          <a:xfrm>
            <a:off x="2118969" y="3883650"/>
            <a:ext cx="3233534" cy="701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ldbase design and detaili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7B2B3F5-BC05-469E-B65B-0BDA788565F5}"/>
              </a:ext>
            </a:extLst>
          </p:cNvPr>
          <p:cNvSpPr/>
          <p:nvPr/>
        </p:nvSpPr>
        <p:spPr>
          <a:xfrm>
            <a:off x="468115" y="4633587"/>
            <a:ext cx="1510147" cy="17845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4C1474-D0B6-4CC9-812A-0719AD529FB8}"/>
              </a:ext>
            </a:extLst>
          </p:cNvPr>
          <p:cNvSpPr/>
          <p:nvPr/>
        </p:nvSpPr>
        <p:spPr>
          <a:xfrm>
            <a:off x="2118971" y="4633587"/>
            <a:ext cx="4842876" cy="17845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2D Process-driven workflow for </a:t>
            </a:r>
            <a:r>
              <a:rPr lang="en-US" sz="1400" dirty="0" err="1">
                <a:solidFill>
                  <a:srgbClr val="3D4647"/>
                </a:solidFill>
                <a:latin typeface="PTCRaleway" panose="020B0503030101060003" pitchFamily="34" charset="0"/>
              </a:rPr>
              <a:t>moldbase</a:t>
            </a: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 design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detailing  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ustomizable “Smart” mold component library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ludes libraries for 17 </a:t>
            </a:r>
            <a:r>
              <a:rPr lang="en-US" sz="1400" dirty="0" err="1">
                <a:solidFill>
                  <a:srgbClr val="3D4647"/>
                </a:solidFill>
                <a:latin typeface="PTCRaleway" panose="020B0503030101060003" pitchFamily="34" charset="0"/>
              </a:rPr>
              <a:t>moldbase</a:t>
            </a: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/component suppliers (e.g., screws, ejector pins, etc.)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utomatic ejector pin, waterline, and fittings functions, automatic runners and waterline checks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utomatic BOM and production drawing creatio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5D4AA0E-6DC6-42AA-9B99-AC020E19E196}"/>
              </a:ext>
            </a:extLst>
          </p:cNvPr>
          <p:cNvCxnSpPr>
            <a:cxnSpLocks/>
          </p:cNvCxnSpPr>
          <p:nvPr/>
        </p:nvCxnSpPr>
        <p:spPr>
          <a:xfrm>
            <a:off x="2075247" y="1851319"/>
            <a:ext cx="0" cy="78028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8839EBA-AEA0-4949-A610-C39282DFACA6}"/>
              </a:ext>
            </a:extLst>
          </p:cNvPr>
          <p:cNvCxnSpPr>
            <a:cxnSpLocks/>
          </p:cNvCxnSpPr>
          <p:nvPr/>
        </p:nvCxnSpPr>
        <p:spPr>
          <a:xfrm>
            <a:off x="2075247" y="2680371"/>
            <a:ext cx="0" cy="115451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9F5E4331-8700-44EB-B013-C9B8637D2E4D}"/>
              </a:ext>
            </a:extLst>
          </p:cNvPr>
          <p:cNvCxnSpPr>
            <a:cxnSpLocks/>
          </p:cNvCxnSpPr>
          <p:nvPr/>
        </p:nvCxnSpPr>
        <p:spPr>
          <a:xfrm>
            <a:off x="2075247" y="3883647"/>
            <a:ext cx="0" cy="70117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F646863-B9F6-4E11-AB97-D29FE59B6A6F}"/>
              </a:ext>
            </a:extLst>
          </p:cNvPr>
          <p:cNvCxnSpPr>
            <a:cxnSpLocks/>
          </p:cNvCxnSpPr>
          <p:nvPr/>
        </p:nvCxnSpPr>
        <p:spPr>
          <a:xfrm>
            <a:off x="2075247" y="4633584"/>
            <a:ext cx="0" cy="178454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9370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84</TotalTime>
  <Words>135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EXPERT MOLDBASE EXTENSION (EMX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3-10-17T11:5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